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6" r:id="rId1"/>
  </p:sldMasterIdLst>
  <p:sldIdLst>
    <p:sldId id="697" r:id="rId2"/>
  </p:sldIdLst>
  <p:sldSz cx="10058400" cy="7772400"/>
  <p:notesSz cx="7315200" cy="96012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C7A8"/>
    <a:srgbClr val="D6C7B4"/>
    <a:srgbClr val="D4C5B0"/>
    <a:srgbClr val="D0C0A8"/>
    <a:srgbClr val="CFBEA5"/>
    <a:srgbClr val="FAC798"/>
    <a:srgbClr val="FCD7B6"/>
    <a:srgbClr val="008A00"/>
    <a:srgbClr val="00B400"/>
    <a:srgbClr val="00F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81" autoAdjust="0"/>
    <p:restoredTop sz="94660"/>
  </p:normalViewPr>
  <p:slideViewPr>
    <p:cSldViewPr snapToGrid="0">
      <p:cViewPr varScale="1">
        <p:scale>
          <a:sx n="73" d="100"/>
          <a:sy n="73" d="100"/>
        </p:scale>
        <p:origin x="1243" y="53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2020" y="1899924"/>
            <a:ext cx="6454140" cy="2594398"/>
          </a:xfrm>
        </p:spPr>
        <p:txBody>
          <a:bodyPr anchor="b">
            <a:normAutofit/>
          </a:bodyPr>
          <a:lstStyle>
            <a:lvl1pPr algn="l"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22020" y="5105603"/>
            <a:ext cx="7040880" cy="1229766"/>
          </a:xfrm>
        </p:spPr>
        <p:txBody>
          <a:bodyPr>
            <a:normAutofit/>
          </a:bodyPr>
          <a:lstStyle>
            <a:lvl1pPr marL="0" indent="0" algn="l">
              <a:buNone/>
              <a:defRPr sz="2200" b="1">
                <a:solidFill>
                  <a:schemeClr val="tx1"/>
                </a:solidFill>
              </a:defRPr>
            </a:lvl1pPr>
            <a:lvl2pPr marL="502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5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086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1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144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173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0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230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7593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6420" y="67852"/>
            <a:ext cx="1182495" cy="320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83722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26"/>
          <p:cNvSpPr>
            <a:spLocks noGrp="1" noChangeArrowheads="1"/>
          </p:cNvSpPr>
          <p:nvPr>
            <p:ph type="dt" sz="half" idx="10"/>
          </p:nvPr>
        </p:nvSpPr>
        <p:spPr>
          <a:xfrm>
            <a:off x="7608413" y="7509759"/>
            <a:ext cx="2346960" cy="262678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C784B88-0C8E-4E6D-B141-ED102B39CD3B}" type="slidenum">
              <a:rPr lang="en-US">
                <a:solidFill>
                  <a:prstClr val="white">
                    <a:lumMod val="50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35895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>
                <a:schemeClr val="tx2"/>
              </a:buClr>
              <a:defRPr sz="2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defRPr sz="1981">
                <a:solidFill>
                  <a:schemeClr val="tx1"/>
                </a:solidFill>
              </a:defRPr>
            </a:lvl2pPr>
            <a:lvl3pPr marL="1257214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3pPr>
            <a:lvl4pPr marL="1760099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4pPr>
            <a:lvl5pPr marL="2262986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9757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+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>
                <a:schemeClr val="tx2"/>
              </a:buClr>
              <a:defRPr sz="2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defRPr sz="1981">
                <a:solidFill>
                  <a:schemeClr val="tx1"/>
                </a:solidFill>
              </a:defRPr>
            </a:lvl2pPr>
            <a:lvl3pPr marL="1257214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3pPr>
            <a:lvl4pPr marL="1760099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4pPr>
            <a:lvl5pPr marL="2262986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66039" y="6863897"/>
            <a:ext cx="8298180" cy="413808"/>
          </a:xfrm>
          <a:prstGeom prst="rect">
            <a:avLst/>
          </a:prstGeom>
        </p:spPr>
        <p:txBody>
          <a:bodyPr/>
          <a:lstStyle>
            <a:lvl1pPr>
              <a:defRPr sz="176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1C1C1C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6BDDE3B-6E17-4A89-9F93-DBB317C0A6AD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4026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6634" y="1727200"/>
            <a:ext cx="6719011" cy="3886200"/>
          </a:xfrm>
        </p:spPr>
        <p:txBody>
          <a:bodyPr>
            <a:normAutofit/>
          </a:bodyPr>
          <a:lstStyle>
            <a:lvl1pPr>
              <a:defRPr sz="44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3507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89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8866" y="1209044"/>
            <a:ext cx="4442460" cy="5733945"/>
          </a:xfrm>
        </p:spPr>
        <p:txBody>
          <a:bodyPr/>
          <a:lstStyle>
            <a:lvl1pPr>
              <a:buClr>
                <a:schemeClr val="tx2"/>
              </a:buClr>
              <a:defRPr sz="2200"/>
            </a:lvl1pPr>
            <a:lvl2pPr>
              <a:buClrTx/>
              <a:defRPr sz="1981"/>
            </a:lvl2pPr>
            <a:lvl3pPr>
              <a:buClrTx/>
              <a:defRPr sz="1981"/>
            </a:lvl3pPr>
            <a:lvl4pPr>
              <a:buClrTx/>
              <a:defRPr sz="1981"/>
            </a:lvl4pPr>
            <a:lvl5pPr>
              <a:buClrTx/>
              <a:defRPr sz="1981"/>
            </a:lvl5pPr>
            <a:lvl6pPr>
              <a:defRPr sz="1981"/>
            </a:lvl6pPr>
            <a:lvl7pPr>
              <a:defRPr sz="1981"/>
            </a:lvl7pPr>
            <a:lvl8pPr>
              <a:defRPr sz="1981"/>
            </a:lvl8pPr>
            <a:lvl9pPr>
              <a:defRPr sz="19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88966" y="1209044"/>
            <a:ext cx="4442460" cy="5733945"/>
          </a:xfrm>
        </p:spPr>
        <p:txBody>
          <a:bodyPr/>
          <a:lstStyle>
            <a:lvl1pPr>
              <a:buClr>
                <a:schemeClr val="tx2"/>
              </a:buClr>
              <a:defRPr sz="2200"/>
            </a:lvl1pPr>
            <a:lvl2pPr>
              <a:buClrTx/>
              <a:defRPr sz="1981"/>
            </a:lvl2pPr>
            <a:lvl3pPr>
              <a:buClrTx/>
              <a:defRPr sz="1981"/>
            </a:lvl3pPr>
            <a:lvl4pPr>
              <a:buClrTx/>
              <a:defRPr sz="1981"/>
            </a:lvl4pPr>
            <a:lvl5pPr>
              <a:buClrTx/>
              <a:defRPr sz="1981"/>
            </a:lvl5pPr>
            <a:lvl6pPr>
              <a:defRPr sz="1981"/>
            </a:lvl6pPr>
            <a:lvl7pPr>
              <a:defRPr sz="1981"/>
            </a:lvl7pPr>
            <a:lvl8pPr>
              <a:defRPr sz="1981"/>
            </a:lvl8pPr>
            <a:lvl9pPr>
              <a:defRPr sz="198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59859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5631" y="1209040"/>
            <a:ext cx="4444207" cy="725064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502886" indent="0">
              <a:buNone/>
              <a:defRPr sz="2200" b="1"/>
            </a:lvl2pPr>
            <a:lvl3pPr marL="1005772" indent="0">
              <a:buNone/>
              <a:defRPr sz="1981" b="1"/>
            </a:lvl3pPr>
            <a:lvl4pPr marL="1508657" indent="0">
              <a:buNone/>
              <a:defRPr sz="1760" b="1"/>
            </a:lvl4pPr>
            <a:lvl5pPr marL="2011541" indent="0">
              <a:buNone/>
              <a:defRPr sz="1760" b="1"/>
            </a:lvl5pPr>
            <a:lvl6pPr marL="2514428" indent="0">
              <a:buNone/>
              <a:defRPr sz="1760" b="1"/>
            </a:lvl6pPr>
            <a:lvl7pPr marL="3017313" indent="0">
              <a:buNone/>
              <a:defRPr sz="1760" b="1"/>
            </a:lvl7pPr>
            <a:lvl8pPr marL="3520200" indent="0">
              <a:buNone/>
              <a:defRPr sz="1760" b="1"/>
            </a:lvl8pPr>
            <a:lvl9pPr marL="4023085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95631" y="1934105"/>
            <a:ext cx="4444207" cy="4478126"/>
          </a:xfrm>
        </p:spPr>
        <p:txBody>
          <a:bodyPr/>
          <a:lstStyle>
            <a:lvl1pPr marL="301731" indent="-301731">
              <a:buClr>
                <a:schemeClr val="tx2"/>
              </a:buClr>
              <a:buFont typeface="Wingdings" panose="05000000000000000000" pitchFamily="2" charset="2"/>
              <a:buChar char="§"/>
              <a:defRPr sz="2200"/>
            </a:lvl1pPr>
            <a:lvl2pPr>
              <a:buClrTx/>
              <a:defRPr sz="1981"/>
            </a:lvl2pPr>
            <a:lvl3pPr>
              <a:buClrTx/>
              <a:defRPr sz="1981"/>
            </a:lvl3pPr>
            <a:lvl4pPr>
              <a:buClrTx/>
              <a:defRPr sz="1981"/>
            </a:lvl4pPr>
            <a:lvl5pPr>
              <a:buClrTx/>
              <a:defRPr sz="1981"/>
            </a:lvl5pPr>
            <a:lvl6pPr>
              <a:defRPr sz="1760"/>
            </a:lvl6pPr>
            <a:lvl7pPr>
              <a:defRPr sz="1760"/>
            </a:lvl7pPr>
            <a:lvl8pPr>
              <a:defRPr sz="1760"/>
            </a:lvl8pPr>
            <a:lvl9pPr>
              <a:defRPr sz="17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02245" y="1209040"/>
            <a:ext cx="4445953" cy="725064"/>
          </a:xfrm>
        </p:spPr>
        <p:txBody>
          <a:bodyPr anchor="b">
            <a:normAutofit/>
          </a:bodyPr>
          <a:lstStyle>
            <a:lvl1pPr marL="0" indent="0">
              <a:buNone/>
              <a:defRPr sz="2200" b="1"/>
            </a:lvl1pPr>
            <a:lvl2pPr marL="502886" indent="0">
              <a:buNone/>
              <a:defRPr sz="2200" b="1"/>
            </a:lvl2pPr>
            <a:lvl3pPr marL="1005772" indent="0">
              <a:buNone/>
              <a:defRPr sz="1981" b="1"/>
            </a:lvl3pPr>
            <a:lvl4pPr marL="1508657" indent="0">
              <a:buNone/>
              <a:defRPr sz="1760" b="1"/>
            </a:lvl4pPr>
            <a:lvl5pPr marL="2011541" indent="0">
              <a:buNone/>
              <a:defRPr sz="1760" b="1"/>
            </a:lvl5pPr>
            <a:lvl6pPr marL="2514428" indent="0">
              <a:buNone/>
              <a:defRPr sz="1760" b="1"/>
            </a:lvl6pPr>
            <a:lvl7pPr marL="3017313" indent="0">
              <a:buNone/>
              <a:defRPr sz="1760" b="1"/>
            </a:lvl7pPr>
            <a:lvl8pPr marL="3520200" indent="0">
              <a:buNone/>
              <a:defRPr sz="1760" b="1"/>
            </a:lvl8pPr>
            <a:lvl9pPr marL="4023085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02245" y="1934105"/>
            <a:ext cx="4445953" cy="4478126"/>
          </a:xfrm>
        </p:spPr>
        <p:txBody>
          <a:bodyPr/>
          <a:lstStyle>
            <a:lvl1pPr>
              <a:buClr>
                <a:schemeClr val="tx2"/>
              </a:buClr>
              <a:defRPr sz="2200"/>
            </a:lvl1pPr>
            <a:lvl2pPr>
              <a:buClrTx/>
              <a:defRPr sz="1981"/>
            </a:lvl2pPr>
            <a:lvl3pPr>
              <a:buClrTx/>
              <a:defRPr sz="1981"/>
            </a:lvl3pPr>
            <a:lvl4pPr>
              <a:buClrTx/>
              <a:defRPr sz="1981"/>
            </a:lvl4pPr>
            <a:lvl5pPr>
              <a:buClrTx/>
              <a:defRPr sz="1981"/>
            </a:lvl5pPr>
            <a:lvl6pPr>
              <a:defRPr sz="1760"/>
            </a:lvl6pPr>
            <a:lvl7pPr>
              <a:defRPr sz="1760"/>
            </a:lvl7pPr>
            <a:lvl8pPr>
              <a:defRPr sz="1760"/>
            </a:lvl8pPr>
            <a:lvl9pPr>
              <a:defRPr sz="176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918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>
                <a:schemeClr val="tx2"/>
              </a:buClr>
              <a:defRPr sz="2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defRPr sz="1981">
                <a:solidFill>
                  <a:schemeClr val="tx1"/>
                </a:solidFill>
              </a:defRPr>
            </a:lvl2pPr>
            <a:lvl3pPr marL="1257214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3pPr>
            <a:lvl4pPr marL="1760099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4pPr>
            <a:lvl5pPr marL="2262986" indent="-251444">
              <a:lnSpc>
                <a:spcPct val="100000"/>
              </a:lnSpc>
              <a:spcBef>
                <a:spcPts val="0"/>
              </a:spcBef>
              <a:spcAft>
                <a:spcPts val="659"/>
              </a:spcAft>
              <a:buClrTx/>
              <a:buFont typeface="Wingdings" panose="05000000000000000000" pitchFamily="2" charset="2"/>
              <a:buChar char="§"/>
              <a:defRPr sz="198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9887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6420" y="67852"/>
            <a:ext cx="1182495" cy="3207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6236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750" y="1802"/>
          <a:ext cx="1746" cy="17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750" y="1802"/>
                        <a:ext cx="1746" cy="17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058400" cy="77724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1869" y="2"/>
            <a:ext cx="9052560" cy="8636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1869" y="1156867"/>
            <a:ext cx="9052560" cy="51294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6764" y="7421495"/>
            <a:ext cx="2346960" cy="41380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‹#›</a:t>
            </a:fld>
            <a:endParaRPr lang="en-US" dirty="0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728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 ftr="0" dt="0"/>
  <p:txStyles>
    <p:titleStyle>
      <a:lvl1pPr algn="l" defTabSz="1005772" rtl="0" eaLnBrk="1" latinLnBrk="0" hangingPunct="1">
        <a:spcBef>
          <a:spcPct val="0"/>
        </a:spcBef>
        <a:buNone/>
        <a:defRPr sz="308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01731" indent="-301731" algn="l" defTabSz="1005772" rtl="0" eaLnBrk="1" latinLnBrk="0" hangingPunct="1">
        <a:spcBef>
          <a:spcPts val="0"/>
        </a:spcBef>
        <a:spcAft>
          <a:spcPts val="659"/>
        </a:spcAft>
        <a:buClr>
          <a:schemeClr val="tx2"/>
        </a:buClr>
        <a:buFont typeface="Wingdings" panose="05000000000000000000" pitchFamily="2" charset="2"/>
        <a:buChar char="§"/>
        <a:defRPr sz="2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17188" indent="-314303" algn="l" defTabSz="1005772" rtl="0" eaLnBrk="1" latinLnBrk="0" hangingPunct="1">
        <a:spcBef>
          <a:spcPts val="0"/>
        </a:spcBef>
        <a:spcAft>
          <a:spcPts val="659"/>
        </a:spcAft>
        <a:buClrTx/>
        <a:buFont typeface="Wingdings" panose="05000000000000000000" pitchFamily="2" charset="2"/>
        <a:buChar char="§"/>
        <a:defRPr sz="198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57214" indent="-251444" algn="l" defTabSz="1005772" rtl="0" eaLnBrk="1" latinLnBrk="0" hangingPunct="1">
        <a:spcBef>
          <a:spcPts val="0"/>
        </a:spcBef>
        <a:spcAft>
          <a:spcPts val="659"/>
        </a:spcAft>
        <a:buClrTx/>
        <a:buFont typeface="Wingdings" panose="05000000000000000000" pitchFamily="2" charset="2"/>
        <a:buChar char="§"/>
        <a:defRPr sz="198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60099" indent="-251444" algn="l" defTabSz="1005772" rtl="0" eaLnBrk="1" latinLnBrk="0" hangingPunct="1">
        <a:spcBef>
          <a:spcPts val="0"/>
        </a:spcBef>
        <a:spcAft>
          <a:spcPts val="659"/>
        </a:spcAft>
        <a:buClrTx/>
        <a:buFont typeface="Wingdings" panose="05000000000000000000" pitchFamily="2" charset="2"/>
        <a:buChar char="§"/>
        <a:defRPr sz="198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262986" indent="-251444" algn="l" defTabSz="1005772" rtl="0" eaLnBrk="1" latinLnBrk="0" hangingPunct="1">
        <a:spcBef>
          <a:spcPts val="0"/>
        </a:spcBef>
        <a:spcAft>
          <a:spcPts val="659"/>
        </a:spcAft>
        <a:buClrTx/>
        <a:buFont typeface="Wingdings" panose="05000000000000000000" pitchFamily="2" charset="2"/>
        <a:buChar char="§"/>
        <a:defRPr sz="198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765872" indent="-251444" algn="l" defTabSz="10057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8756" indent="-251444" algn="l" defTabSz="10057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71643" indent="-251444" algn="l" defTabSz="10057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74527" indent="-251444" algn="l" defTabSz="1005772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1pPr>
      <a:lvl2pPr marL="502886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2pPr>
      <a:lvl3pPr marL="1005772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3pPr>
      <a:lvl4pPr marL="1508657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4pPr>
      <a:lvl5pPr marL="2011541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5pPr>
      <a:lvl6pPr marL="2514428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6pPr>
      <a:lvl7pPr marL="3017313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7pPr>
      <a:lvl8pPr marL="3520200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8pPr>
      <a:lvl9pPr marL="4023085" algn="l" defTabSz="1005772" rtl="0" eaLnBrk="1" latinLnBrk="0" hangingPunct="1">
        <a:defRPr sz="198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7273520-00B3-4072-9B90-CF026659A709}"/>
              </a:ext>
            </a:extLst>
          </p:cNvPr>
          <p:cNvSpPr/>
          <p:nvPr/>
        </p:nvSpPr>
        <p:spPr>
          <a:xfrm>
            <a:off x="8881241" y="6618078"/>
            <a:ext cx="987972" cy="106611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6863EC-DCE5-4F27-A79E-54030935D8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9327" y="194174"/>
            <a:ext cx="8539377" cy="838200"/>
          </a:xfrm>
        </p:spPr>
        <p:txBody>
          <a:bodyPr>
            <a:noAutofit/>
          </a:bodyPr>
          <a:lstStyle/>
          <a:p>
            <a:r>
              <a:rPr lang="en-US" sz="2640" dirty="0">
                <a:solidFill>
                  <a:srgbClr val="F58220"/>
                </a:solidFill>
              </a:rPr>
              <a:t>Appliance Experience</a:t>
            </a:r>
            <a:r>
              <a:rPr lang="en-US" sz="2640" dirty="0">
                <a:solidFill>
                  <a:schemeClr val="bg2">
                    <a:lumMod val="50000"/>
                  </a:schemeClr>
                </a:solidFill>
              </a:rPr>
              <a:t> | New Bosch Dishwasher Pa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BBCE0DF-894C-4114-8258-7B580CC8CB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BDDE3B-6E17-4A89-9F93-DBB317C0A6AD}" type="slidenum">
              <a:rPr lang="en-US" smtClean="0">
                <a:solidFill>
                  <a:srgbClr val="1C1C1C"/>
                </a:solidFill>
              </a:rPr>
              <a:pPr/>
              <a:t>1</a:t>
            </a:fld>
            <a:endParaRPr lang="en-US" dirty="0">
              <a:solidFill>
                <a:srgbClr val="1C1C1C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206D612-A873-455E-8806-1E1F4473268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083" y="219411"/>
            <a:ext cx="401844" cy="60127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7801867-7F0D-4BC8-9F44-930169B91AB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619" y="396612"/>
            <a:ext cx="394011" cy="4714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E4D0A1A-7593-4727-A6BC-DE6746ED60B9}"/>
              </a:ext>
            </a:extLst>
          </p:cNvPr>
          <p:cNvSpPr txBox="1"/>
          <p:nvPr/>
        </p:nvSpPr>
        <p:spPr>
          <a:xfrm>
            <a:off x="364360" y="964112"/>
            <a:ext cx="93296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200" b="1" dirty="0">
                <a:cs typeface="Calibri" panose="020F0502020204030204" pitchFamily="34" charset="0"/>
              </a:rPr>
              <a:t>SUMMARY:</a:t>
            </a:r>
            <a:r>
              <a:rPr lang="en-US" sz="1200" dirty="0">
                <a:cs typeface="Calibri" panose="020F0502020204030204" pitchFamily="34" charset="0"/>
              </a:rPr>
              <a:t> Bosch has introduced a new dishwasher part: M957 – Bosch Dish Junction Box, used for hardwired installs. </a:t>
            </a:r>
            <a:r>
              <a:rPr lang="en-US" sz="1200" b="1" u="sng" dirty="0">
                <a:cs typeface="Calibri" panose="020F0502020204030204" pitchFamily="34" charset="0"/>
              </a:rPr>
              <a:t>New</a:t>
            </a:r>
            <a:r>
              <a:rPr lang="en-US" sz="1200" dirty="0">
                <a:cs typeface="Calibri" panose="020F0502020204030204" pitchFamily="34" charset="0"/>
              </a:rPr>
              <a:t> Bosch 300/500/800 series dishwashers will now include the M946 110v power cord used for plug-in installations, rather than the junction box for hardwired installs.  The junction box will now be an installation accessory.</a:t>
            </a:r>
          </a:p>
          <a:p>
            <a:pPr lvl="0"/>
            <a:endParaRPr lang="en-US" sz="1200" dirty="0">
              <a:cs typeface="Calibri" panose="020F0502020204030204" pitchFamily="34" charset="0"/>
            </a:endParaRPr>
          </a:p>
          <a:p>
            <a:pPr lvl="0"/>
            <a:r>
              <a:rPr lang="en-US" sz="1200" b="1" dirty="0">
                <a:cs typeface="Calibri" panose="020F0502020204030204" pitchFamily="34" charset="0"/>
              </a:rPr>
              <a:t>RATIONALE:</a:t>
            </a:r>
            <a:r>
              <a:rPr lang="en-US" sz="1200" dirty="0">
                <a:cs typeface="Calibri" panose="020F0502020204030204" pitchFamily="34" charset="0"/>
              </a:rPr>
              <a:t> More homes across US require 110v plug-in vs. hardwire install.  Therefore, Bosch is including 110v power cord rather than junction box in new 300/500/800 series dishwashers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57DA467-CE49-4DB8-8217-7C087C9F534C}"/>
              </a:ext>
            </a:extLst>
          </p:cNvPr>
          <p:cNvSpPr txBox="1"/>
          <p:nvPr/>
        </p:nvSpPr>
        <p:spPr>
          <a:xfrm>
            <a:off x="364360" y="2395519"/>
            <a:ext cx="9314344" cy="11310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60"/>
              </a:spcAft>
            </a:pP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IMPACT:</a:t>
            </a:r>
          </a:p>
          <a:p>
            <a:pPr marL="378937" indent="-254953">
              <a:spcAft>
                <a:spcPts val="66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Beginning on </a:t>
            </a: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8/5/19:</a:t>
            </a:r>
          </a:p>
          <a:p>
            <a:pPr marL="626904" lvl="1" indent="-247968">
              <a:spcAft>
                <a:spcPts val="66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AOS will show the </a:t>
            </a: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M957-Bosch Dish Junction Box 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option as default “YES” and “QTY 1”</a:t>
            </a:r>
            <a:endParaRPr lang="en-US" sz="1200" b="1" dirty="0">
              <a:solidFill>
                <a:schemeClr val="bg2">
                  <a:lumMod val="25000"/>
                </a:schemeClr>
              </a:solidFill>
              <a:cs typeface="Calibri" panose="020F0502020204030204" pitchFamily="34" charset="0"/>
            </a:endParaRPr>
          </a:p>
          <a:p>
            <a:pPr marL="626904" lvl="1" indent="-247968">
              <a:spcAft>
                <a:spcPts val="660"/>
              </a:spcAft>
              <a:buFont typeface="Wingdings" panose="05000000000000000000" pitchFamily="2" charset="2"/>
              <a:buChar char="§"/>
            </a:pP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AOS will display the </a:t>
            </a:r>
            <a:r>
              <a:rPr lang="en-US" sz="1200" b="1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M946 – BSH 300/500/800 SERIES CORDPLU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Calibri" panose="020F0502020204030204" pitchFamily="34" charset="0"/>
              </a:rPr>
              <a:t> option as default “NO” and “QTY 0”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3C82145-0770-4A21-A2AB-6DDCE4B86BED}"/>
              </a:ext>
            </a:extLst>
          </p:cNvPr>
          <p:cNvSpPr/>
          <p:nvPr/>
        </p:nvSpPr>
        <p:spPr>
          <a:xfrm>
            <a:off x="436005" y="3658801"/>
            <a:ext cx="17860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rPr>
              <a:t>AOS: Current View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336A7CF3-91B1-45A1-B4A4-09C8481D95B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004" y="3983414"/>
            <a:ext cx="9274731" cy="2606565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DA3A234-780D-4EB7-8963-62099EC6195F}"/>
              </a:ext>
            </a:extLst>
          </p:cNvPr>
          <p:cNvSpPr/>
          <p:nvPr/>
        </p:nvSpPr>
        <p:spPr>
          <a:xfrm>
            <a:off x="436004" y="6718288"/>
            <a:ext cx="16946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400" b="1" dirty="0">
                <a:solidFill>
                  <a:schemeClr val="bg2">
                    <a:lumMod val="25000"/>
                  </a:schemeClr>
                </a:solidFill>
                <a:latin typeface="+mj-lt"/>
                <a:cs typeface="Calibri" panose="020F0502020204030204" pitchFamily="34" charset="0"/>
              </a:rPr>
              <a:t>AOS: Future View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BA8138C0-9CE4-4B4B-BDB5-B4C1AB6AAA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7915" y="7042657"/>
            <a:ext cx="9272820" cy="188992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D934342F-405C-4C81-A29E-0C21AC0C86A4}"/>
              </a:ext>
            </a:extLst>
          </p:cNvPr>
          <p:cNvGrpSpPr/>
          <p:nvPr/>
        </p:nvGrpSpPr>
        <p:grpSpPr>
          <a:xfrm>
            <a:off x="446514" y="7399258"/>
            <a:ext cx="9291314" cy="246072"/>
            <a:chOff x="446514" y="7020897"/>
            <a:chExt cx="9291314" cy="246072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B90D6BFC-D639-4DD6-A640-CD5A9851C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46514" y="7035301"/>
              <a:ext cx="9272820" cy="231668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8134A55-4B15-4A1D-8EF8-1B75E07B0102}"/>
                </a:ext>
              </a:extLst>
            </p:cNvPr>
            <p:cNvSpPr txBox="1"/>
            <p:nvPr/>
          </p:nvSpPr>
          <p:spPr>
            <a:xfrm>
              <a:off x="2238703" y="7039622"/>
              <a:ext cx="1219199" cy="213574"/>
            </a:xfrm>
            <a:prstGeom prst="rect">
              <a:avLst/>
            </a:prstGeom>
            <a:solidFill>
              <a:srgbClr val="DEC7A8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800" dirty="0"/>
                <a:t>1004-629-407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146B60A-84A7-49A7-B36B-56392F107C0F}"/>
                </a:ext>
              </a:extLst>
            </p:cNvPr>
            <p:cNvSpPr txBox="1"/>
            <p:nvPr/>
          </p:nvSpPr>
          <p:spPr>
            <a:xfrm>
              <a:off x="4633693" y="7036137"/>
              <a:ext cx="2649975" cy="230832"/>
            </a:xfrm>
            <a:prstGeom prst="rect">
              <a:avLst/>
            </a:prstGeom>
            <a:solidFill>
              <a:srgbClr val="DEC7A8"/>
            </a:solidFill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800"/>
              </a:lvl1pPr>
            </a:lstStyle>
            <a:p>
              <a:r>
                <a:rPr lang="en-US" sz="900" dirty="0"/>
                <a:t>M957-Bosch Dish Junction Box 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583EBC1-488C-4F6C-B6D0-8180172871CE}"/>
                </a:ext>
              </a:extLst>
            </p:cNvPr>
            <p:cNvSpPr txBox="1"/>
            <p:nvPr/>
          </p:nvSpPr>
          <p:spPr>
            <a:xfrm>
              <a:off x="7283668" y="7037401"/>
              <a:ext cx="1457807" cy="215444"/>
            </a:xfrm>
            <a:prstGeom prst="rect">
              <a:avLst/>
            </a:prstGeom>
            <a:solidFill>
              <a:srgbClr val="DEC7A8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/>
                <a:t>$29.98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823BF00-1292-472F-88C3-61F0B9C757C9}"/>
                </a:ext>
              </a:extLst>
            </p:cNvPr>
            <p:cNvSpPr txBox="1"/>
            <p:nvPr/>
          </p:nvSpPr>
          <p:spPr>
            <a:xfrm>
              <a:off x="8741475" y="7039271"/>
              <a:ext cx="991505" cy="215444"/>
            </a:xfrm>
            <a:prstGeom prst="rect">
              <a:avLst/>
            </a:prstGeom>
            <a:solidFill>
              <a:srgbClr val="DEC7A8"/>
            </a:solidFill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800" dirty="0"/>
                <a:t>$29.98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9332D568-BC3C-4BB1-A6B0-14F0F19EEF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3491" t="22178" r="25942" b="68951"/>
            <a:stretch/>
          </p:blipFill>
          <p:spPr>
            <a:xfrm>
              <a:off x="7273160" y="7020897"/>
              <a:ext cx="52552" cy="231228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78925BC2-3A45-4E05-9E09-B49CA23B27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3491" t="22178" r="25942" b="68951"/>
            <a:stretch/>
          </p:blipFill>
          <p:spPr>
            <a:xfrm>
              <a:off x="9685276" y="7026154"/>
              <a:ext cx="52552" cy="231228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6E3F2FFD-98F7-40D7-B9F6-BD23F30BD3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73491" t="22178" r="25942" b="68951"/>
            <a:stretch/>
          </p:blipFill>
          <p:spPr>
            <a:xfrm>
              <a:off x="8660525" y="7020902"/>
              <a:ext cx="52552" cy="231228"/>
            </a:xfrm>
            <a:prstGeom prst="rect">
              <a:avLst/>
            </a:prstGeom>
          </p:spPr>
        </p:pic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id="{97C7347C-6460-4FAF-9EFD-683D1C3E993A}"/>
              </a:ext>
            </a:extLst>
          </p:cNvPr>
          <p:cNvSpPr/>
          <p:nvPr/>
        </p:nvSpPr>
        <p:spPr>
          <a:xfrm>
            <a:off x="235083" y="4761388"/>
            <a:ext cx="7201866" cy="31387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Arrow: Curved Left 25">
            <a:extLst>
              <a:ext uri="{FF2B5EF4-FFF2-40B4-BE49-F238E27FC236}">
                <a16:creationId xmlns:a16="http://schemas.microsoft.com/office/drawing/2014/main" id="{9B416E87-B217-4D38-B007-A8701073AB0A}"/>
              </a:ext>
            </a:extLst>
          </p:cNvPr>
          <p:cNvSpPr/>
          <p:nvPr/>
        </p:nvSpPr>
        <p:spPr>
          <a:xfrm>
            <a:off x="7455124" y="4771898"/>
            <a:ext cx="869121" cy="2217578"/>
          </a:xfrm>
          <a:prstGeom prst="curvedLeftArrow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980" dirty="0">
              <a:solidFill>
                <a:schemeClr val="tx1"/>
              </a:solidFill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470F939B-5704-46E8-9FB9-17E329255607}"/>
              </a:ext>
            </a:extLst>
          </p:cNvPr>
          <p:cNvCxnSpPr/>
          <p:nvPr/>
        </p:nvCxnSpPr>
        <p:spPr>
          <a:xfrm>
            <a:off x="235083" y="3587822"/>
            <a:ext cx="963413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13B1EBA7-D183-45A8-8E32-F0042CFD953D}"/>
              </a:ext>
            </a:extLst>
          </p:cNvPr>
          <p:cNvCxnSpPr/>
          <p:nvPr/>
        </p:nvCxnSpPr>
        <p:spPr>
          <a:xfrm>
            <a:off x="235083" y="2310816"/>
            <a:ext cx="9634130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686470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THD PowerPoint Template">
      <a:dk1>
        <a:srgbClr val="1C1C1C"/>
      </a:dk1>
      <a:lt1>
        <a:srgbClr val="FFFFFF"/>
      </a:lt1>
      <a:dk2>
        <a:srgbClr val="F58220"/>
      </a:dk2>
      <a:lt2>
        <a:srgbClr val="E8E8E8"/>
      </a:lt2>
      <a:accent1>
        <a:srgbClr val="D0D0D0"/>
      </a:accent1>
      <a:accent2>
        <a:srgbClr val="AEAEAE"/>
      </a:accent2>
      <a:accent3>
        <a:srgbClr val="F58220"/>
      </a:accent3>
      <a:accent4>
        <a:srgbClr val="E8E8E8"/>
      </a:accent4>
      <a:accent5>
        <a:srgbClr val="C6C6C6"/>
      </a:accent5>
      <a:accent6>
        <a:srgbClr val="F58220"/>
      </a:accent6>
      <a:hlink>
        <a:srgbClr val="5F5F5F"/>
      </a:hlink>
      <a:folHlink>
        <a:srgbClr val="0000BF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deTemplate.potx" id="{230BE94A-BA8D-4841-B44E-FB4A4D9D91E6}" vid="{76CF46B8-05C9-4615-85A8-70060FA2AE2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192</TotalTime>
  <Words>162</Words>
  <Application>Microsoft Office PowerPoint</Application>
  <PresentationFormat>Custom</PresentationFormat>
  <Paragraphs>1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Wingdings</vt:lpstr>
      <vt:lpstr>Default Theme</vt:lpstr>
      <vt:lpstr>think-cell Slide</vt:lpstr>
      <vt:lpstr>Appliance Experience | New Bosch Dishwasher Part</vt:lpstr>
    </vt:vector>
  </TitlesOfParts>
  <Company>The Home Dep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chneider, Laura</dc:creator>
  <cp:lastModifiedBy>Riney, Travis J</cp:lastModifiedBy>
  <cp:revision>184</cp:revision>
  <cp:lastPrinted>2019-05-31T21:27:03Z</cp:lastPrinted>
  <dcterms:created xsi:type="dcterms:W3CDTF">2017-07-26T16:32:11Z</dcterms:created>
  <dcterms:modified xsi:type="dcterms:W3CDTF">2019-07-30T15:21:38Z</dcterms:modified>
</cp:coreProperties>
</file>